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91" r:id="rId3"/>
    <p:sldMasterId id="2147483774" r:id="rId4"/>
    <p:sldMasterId id="2147483750" r:id="rId5"/>
    <p:sldMasterId id="2147483762" r:id="rId6"/>
  </p:sldMasterIdLst>
  <p:notesMasterIdLst>
    <p:notesMasterId r:id="rId16"/>
  </p:notesMasterIdLst>
  <p:sldIdLst>
    <p:sldId id="1787" r:id="rId7"/>
    <p:sldId id="679" r:id="rId8"/>
    <p:sldId id="713" r:id="rId9"/>
    <p:sldId id="607" r:id="rId10"/>
    <p:sldId id="1789" r:id="rId11"/>
    <p:sldId id="684" r:id="rId12"/>
    <p:sldId id="472" r:id="rId13"/>
    <p:sldId id="720" r:id="rId14"/>
    <p:sldId id="669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63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EBF3C9-F60A-4F88-B52D-BBDD36176B3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D2ECD4-80E7-4FBB-939D-CC060133E54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193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9239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4634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840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1451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589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0CC76-BF74-49E7-805F-DCD83B5079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E72C4B-1248-4030-B627-ABEEA52E7A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397AFD-ABED-425A-A83F-F6E981F1DF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F6BB7C-C9FC-4F64-B502-161C7A809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2B8B1-0A8F-4888-8091-548396C38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06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C856AC-F9CB-4D66-91B2-CFD21861E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9475B43-B448-4808-A25F-F139C9CF77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33B696-274D-4CB6-835B-53A7BAADE9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0A0FB0-AF03-4E29-9941-8CEAB0C2C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6B5BAA-7F02-4C75-BC56-1BC6D190E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40979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615358-E020-4AE6-902E-FD101D2A7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531F12-214E-423D-BFCD-21F525F8FA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22F33B-2B85-4666-B0D9-508447A020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A874AD-C8C4-42A2-A1B9-DCE0DBED5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ACFD6A-80F6-4570-8715-9C427CA18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7621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7CE434-8A70-4CF2-BC13-84698B351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3F0DE9-E60C-451D-AE37-94A44BF2BB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0556DD-1EFF-4832-8691-4D6BD26F37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75E694-608F-40AB-A484-83DDF7F4A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828423-8D11-40C1-B629-BC027AD3F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411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2B8BB-28D4-472F-BDD2-B1995AE99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106C1A-350A-43BE-B6B8-ED48546E17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29B350-AE52-4BD8-B482-5727B5BFE9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D25A8A-A79D-4EA1-80DF-91AC270DF7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75D705-2375-4BD6-8210-927D07B20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770CB7-87E7-487B-A7CD-72C878559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99969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C42D7-3F95-433A-9361-1EE16EF87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E3318A-1AC7-46FE-AC97-E991A5EB4D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F4A3F9-779B-4E93-852C-5A0D52ABF1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280D16-A1B9-44E4-8B82-221876BA4F6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DC1B41-2FF6-4D7D-A771-E674F37B6B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DDE5BF9-7B0B-4E8B-BD83-346527AB80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A8BA74-E26A-4896-8D08-CC0BACABF1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B37702-4D77-4DCB-AAC4-A7B18BDAE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5026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1B1342-D249-4A2C-9A94-90D30F00A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658239-E95E-46C3-8DC7-9130530C4D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FDC252-4438-40A7-BA44-0B47B569B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226E4B-E9D6-466A-814A-1CB3D477F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1626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51F250-99C6-4AC9-9A22-7575E739CC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469E33-5357-452C-902C-B25CFA218D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7B7C73-C14F-4D13-B3E9-528399A71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13989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C0EE8-9A8E-406F-BEF7-AC5E323B0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C9E70-424D-454F-8996-24EDA58527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D269DF-37AE-4E81-BE3A-FE2046AD25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AA9D4-C0DB-4BC3-BE02-5A899BD2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479504-28EF-4A7C-9553-C3179DB0F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79563A-F867-42EE-97F4-17E76AE27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dicting Lung Cancer</a:t>
            </a:r>
          </a:p>
        </p:txBody>
      </p:sp>
    </p:spTree>
    <p:extLst>
      <p:ext uri="{BB962C8B-B14F-4D97-AF65-F5344CB8AC3E}">
        <p14:creationId xmlns:p14="http://schemas.microsoft.com/office/powerpoint/2010/main" val="365854593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89D5E3-E66D-49ED-B02E-7064067FF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2B4EB1-3382-46E3-9805-EFCC570C13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9FF03A-9756-49FD-B9D4-07A0477DE9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05985D-91AC-42B7-A096-FC7D3BCE22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61F50B-01BB-46D2-A247-7764A8ED9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80D077-B98E-4492-B96A-CFACC7BB8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30281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61B195-0A36-4C69-9BF1-C92FBEB6A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159D9A-1FAC-4FE2-89FA-4DF9A62542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17C445-95F1-4A38-B6D4-3D1B0178EB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6335F0-BA10-4A7A-99C0-8E8F7DFB1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B2739D-C216-43F1-AC38-4EC19C136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1360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B2F5B42-09D4-44C2-8254-397D37360A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609E58-5448-4BB7-A47F-46FCDBAEA0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875937-77BC-4DC0-866E-3D2A369C33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FC766-AF19-4C6A-9CC2-9EB168FAC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5FCD5A-4836-4D20-AC42-41F52BE3B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15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1103CCB-D742-4002-8516-25E3D3ACC8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581F7C-1A75-4692-B94B-B3DD1BCBBC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46E2B5-6443-43C5-A3F7-E00680C29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56D20C-6AA0-43FD-8EA4-20694C45D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8A65BC-9530-4412-A5DC-1207018AF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5413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5FEF5-DB07-406A-9F61-9FFA0B6169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74CB33-4FC2-47E0-8CF7-6659CAAA01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A08E8-A343-40AB-96CB-0DED9702D2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DC8008-7A80-4C83-B08B-2D8BE7997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8B849-D645-4AC9-A501-1D69DB422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83713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583F8-1C11-40D2-BC6A-56DE8D2A7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5E16CC-D0D0-4846-80F9-C7562657F7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2AD72C-57BF-4511-93C6-A0C20C3146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03086F-CDDA-4F85-B1D2-F48BEA093B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2014C7-12C2-436B-A042-F7F3D98D6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1229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8B0C7-0B88-4EB6-9682-0C89508B0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0FC9B-79AB-4868-936A-74832CFFAB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6C4293-0415-43F4-9795-4F04ADE1A8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B229E7-55C1-4C21-A7E7-09DFDB500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455C83-6DF8-4000-89B1-DDF2A86C9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71745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220A4-67F8-4F0D-80F9-1F7395CC9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B2D3E1-6DAD-4914-9A75-17D8F5CDEA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995971-4011-4447-8973-F7068009D2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1105E-EBF9-4224-803C-37F2187A4E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B214EB-1E6F-4E16-B1D1-1FCDC65F7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5F8C83-7DBE-4EDE-82B9-DA21F0151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31484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F4002-B7F4-4520-826B-EB89EE181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96AB74-BF59-481A-B660-EBEB442B18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EC2E44-AB74-4082-B0B2-DE575E5462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341711-7BAD-425C-BD78-BDB9703CF4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7E944D-F4AE-4DEB-90D6-B7CDB13B20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D669C1-0948-427D-872D-92F1ABE4D8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2C8C3CB-7389-4C2B-A325-B0FA614C5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C28927-FA34-4968-B42B-9C76706AC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89983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609C8-5BF0-4EE5-99F9-D56E8F5D6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257BDA-125D-4335-BE33-A8FF4DCB77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116B88-B095-416E-A4E6-490642D1C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61694E-7D69-458D-B1D6-153075007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86959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52058A-7621-413D-B8CE-BBE01DC8E4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9E5BC1-7C0E-4F34-8D1F-BD4F64080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D827C3-AE04-4026-A9D4-7D0C62333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62366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F16EF6-42D9-4F68-BC02-2DFAD504E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59E86-8298-4AD9-B853-5183F82900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79514F-7B54-475B-8BE1-D931CD1518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649C33-C199-4B66-863F-3F607BFDDC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C3641D-F9CB-4E75-9874-38B466482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7D1206-E26A-4567-87D1-70A2F096A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5429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327D-29DE-4131-A8FF-AD92CAD21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77A7FA-3025-40C8-8542-811B61066F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A07B43-0442-44CA-81CB-F2ED80A9EF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67A6B2-7101-465D-941B-03EB7AC8AC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6A593A-E07A-48F3-91D7-C18E17B1E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7A538B-8A59-4436-BD30-979C44DEA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34376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4B948-F9B6-4235-9CC2-C9844C426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A0BA3A-9466-4305-9026-75AEACADB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0CD6B4-FC40-4D69-9EB0-D35343ABE0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0AD926-5320-4A32-9A05-8D74507B9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7DF54C-34E6-479A-BA51-19FE338D7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2843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36738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032C9F9-C826-4FBA-B6D1-D7AEE8F68A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5C7887-8C8F-4E60-A72D-CD5FD8BC9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C7B848-CFA6-4F2F-94A2-34FE586D20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78F98B-C4F6-4EE1-ACF8-C0C87B5CAB60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8CB8C5-902E-4D9A-9F3E-016379082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366B95-9CFD-4754-9695-C887CD878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188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7613A482-E464-4A5F-A039-0928D91B39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908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11221BC6-F1BD-4116-99A1-6547E35FE063}"/>
              </a:ext>
            </a:extLst>
          </p:cNvPr>
          <p:cNvSpPr txBox="1"/>
          <p:nvPr userDrawn="1"/>
        </p:nvSpPr>
        <p:spPr>
          <a:xfrm>
            <a:off x="501649" y="6490485"/>
            <a:ext cx="5355168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33A4012-CA63-43E4-83BF-074D16D9AD8D}"/>
              </a:ext>
            </a:extLst>
          </p:cNvPr>
          <p:cNvSpPr txBox="1"/>
          <p:nvPr userDrawn="1"/>
        </p:nvSpPr>
        <p:spPr>
          <a:xfrm>
            <a:off x="6335185" y="6477001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Lung Canc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BBEB545-107B-4391-A5A2-60E82A97DB1C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59342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316851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26321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76252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91175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1723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1874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9B005-1B3C-40D0-89C0-B795634FF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75ADDA-CE8E-4788-88EB-3085D4B8C6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5DFADE-865A-4F23-94D3-77161DC25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5E9D74-2B91-44E4-A98D-1F1F3DB62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DC1EDF-78D5-4676-8E66-22644BC90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3122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30929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3824675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275852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859317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2519459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37235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31491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3366444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418635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09179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2526F-968E-4B12-84DE-8CD5194CE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65F9D0-5677-4A81-B28F-1B7C935F22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6285A6-303E-434B-A829-BD10A2BCE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3C9712-33C7-47B0-8494-8B673A0B4C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FB2A7A-7079-49A1-A32B-4A0D683EB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3145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559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7103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5943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808569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316825" cy="3996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700213"/>
            <a:ext cx="5319272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6410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1113600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7233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4286" y="1700214"/>
            <a:ext cx="354067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16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19" y="1700213"/>
            <a:ext cx="1116414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166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24851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509285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5637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3793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B48A1-8870-4666-B591-3280A11FE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97297D-90ED-42F1-B29B-83351662D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B8A762-522F-436F-AD8E-920798CA21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9EC7A0-1878-4023-A458-FA16AB844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DDED0-C3C8-431D-A75B-C91FB1F07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23FFE4-8335-43A1-9B90-3A60A16643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1153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952238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2400"/>
              </a:lnSpc>
              <a:defRPr sz="24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05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17D6D49-40DB-4B5E-91C7-B12BED91DDA4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2B56F000-79C0-4179-8524-D9ACDA40DE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3CED6E8-0988-4503-8A9C-7978FFC381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C687D43-60C7-43AB-8911-DA778A3C21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7E6A62ED-7286-474D-94F4-70E263F123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04C66DE6-1937-4416-B991-2E18A61B26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DB34AD3A-4C9A-421F-B1CB-0CC3CE3E88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4BEAFDCD-F937-4438-BAD2-7E961511BC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518B2C5-6FC4-4210-8C90-05C2859C1F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D8243B4B-C757-43C3-AF9F-089552AEBB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3DAE9BC0-0457-4CD3-A551-64C8347B41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685206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05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2400"/>
              </a:lnSpc>
              <a:defRPr sz="24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182227E-579E-4532-A5CC-BAC597A2EB71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39C72C34-6FFB-4CE7-B304-C8C74BF6C3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8DD3099C-72C7-4FA0-86A0-B67C325463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A346B900-C0DF-411B-8CA4-F1F42FADD5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13AA319-AFB1-42C9-901B-8EDCF290F8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7C98F536-510C-46EE-B359-F810D5B655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DCBFA1F5-173A-441A-A6FD-71FCDBF30A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083DD0E-D155-404B-A6D6-B4804E93F1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953D3259-EB90-4A35-B743-E514431BA3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4FDAED7B-04A0-4660-92A8-D8107837CA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137EB39F-D265-46F7-A030-ED8CFA46BB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336613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6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3863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66A349-D016-439D-A265-9A113E0DC1FD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3522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2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Lung Cancer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FB851A-9A52-4D1A-9531-091A228B7093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4704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27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467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3" y="2052002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3" y="1674088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6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129674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B52998-BAFF-4727-9F38-10E5378F1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8596582"/>
      </p:ext>
    </p:extLst>
  </p:cSld>
  <p:clrMapOvr>
    <a:masterClrMapping/>
  </p:clrMapOvr>
  <p:transition>
    <p:fade/>
  </p:transition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2ED25F-F6FC-488E-B8A8-CFEA8E8A6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4919585"/>
      </p:ext>
    </p:extLst>
  </p:cSld>
  <p:clrMapOvr>
    <a:masterClrMapping/>
  </p:clrMapOvr>
  <p:transition>
    <p:fade/>
  </p:transition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3F29AD-0227-4530-9C98-ECF0BF091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807E67-1F36-4504-88C3-9583F26259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84CC56-7945-41EA-8867-A89C7BAEAD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5D89A3-C63D-4576-9787-8F92BC69FF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B94693-E7A9-4980-8E07-1F7EFE62D7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7E2518-79A2-41F4-A219-71ACA0E93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F8586B-358B-4361-AD81-15AC762AB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13D7E0E-79D9-42E0-8EDD-5CC13990C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9442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692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727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9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42E5B2-CB73-494C-AEDA-92DED9F00538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12C1795B-758F-49A8-B043-04FA792E1D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D9AA27D9-1A62-421F-88B1-0CE6ECF629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73F630E6-1CC2-4F70-9E09-307AE5304A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9AC6F5C8-3A68-44F5-9E0C-87C778EC58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FFFA535-59D5-4C7A-946D-D0B8DBCE44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0017862E-6379-4667-AA8A-7BD697E18C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317C5F5-036E-4011-8B7D-7B572620A9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A0D8CFF-8AD5-4D7F-B6B4-43E29B63D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B972A6DD-DDA7-4BEC-9AE0-CDBE22EF18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010F773-4463-4CEE-947C-340E5FBAC3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4682705"/>
      </p:ext>
    </p:extLst>
  </p:cSld>
  <p:clrMapOvr>
    <a:masterClrMapping/>
  </p:clrMapOvr>
  <p:transition>
    <p:fade/>
  </p:transition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9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F4E88F-BEA2-49FD-AB3A-CCBC65363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6894465"/>
      </p:ext>
    </p:extLst>
  </p:cSld>
  <p:clrMapOvr>
    <a:masterClrMapping/>
  </p:clrMapOvr>
  <p:transition>
    <p:fade/>
  </p:transition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90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40" y="1665290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432982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91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6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8160644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2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4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6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16050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518549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1" y="1658678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575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855036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1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2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7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2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2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6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7650743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1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3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70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48781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761CD0-A115-446B-9662-DC8BC9A4F3B6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2AFCD77-2840-4457-A8CC-250E024F5885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3D724AF-B48B-4AA6-91C8-B438C37A88D1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34AA612-2961-40D2-9A4E-EDAE9FEF230D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73064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A9D6A-197D-44A6-8E70-2B83FC33F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8974F3-9768-4AF2-B182-D152F1CC9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7D44E8-A6C7-42CE-8185-6C7AB79C5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696208-C97C-486E-ACEB-728243A92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2421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5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3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2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8C6EA4C-B76A-4261-B420-F9400DB4E471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B98A0D-4A0B-45A0-912D-4D61546E92C6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3931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2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5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5" y="4249684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4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3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5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5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5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7736244"/>
      </p:ext>
    </p:extLst>
  </p:cSld>
  <p:clrMapOvr>
    <a:masterClrMapping/>
  </p:clrMapOvr>
  <p:transition>
    <p:fade/>
  </p:transition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5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1" y="1705968"/>
            <a:ext cx="362743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7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5" y="1857893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9" y="1861483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2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3825595"/>
      </p:ext>
    </p:extLst>
  </p:cSld>
  <p:clrMapOvr>
    <a:masterClrMapping/>
  </p:clrMapOvr>
  <p:transition>
    <p:fade/>
  </p:transition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9"/>
            <a:ext cx="36957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400" y="1674089"/>
            <a:ext cx="3683953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9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2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400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6859306"/>
      </p:ext>
    </p:extLst>
  </p:cSld>
  <p:clrMapOvr>
    <a:masterClrMapping/>
  </p:clrMapOvr>
  <p:transition>
    <p:fade/>
  </p:transition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2956285"/>
      </p:ext>
    </p:extLst>
  </p:cSld>
  <p:clrMapOvr>
    <a:masterClrMapping/>
  </p:clrMapOvr>
  <p:transition>
    <p:fade/>
  </p:transition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51198245"/>
      </p:ext>
    </p:extLst>
  </p:cSld>
  <p:clrMapOvr>
    <a:masterClrMapping/>
  </p:clrMapOvr>
  <p:transition>
    <p:fade/>
  </p:transition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6086613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044357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6664065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67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71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73AC783-B7E6-42BB-A92D-0ADBC2997BD0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9F2F744D-AEA8-4CF0-9A14-E2B8AD2410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62CECF6-150D-469C-9E24-8A478A950A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5AD24CEC-D748-4AC1-BB7B-7A25E5679D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40C7F824-A886-4BC7-B778-20FA0AA99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2FA61C41-4509-484F-BCF2-C180FF4388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204D49B7-F599-46BF-BA65-9824F012BE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836DFB0-FEE2-4420-9E5F-C49F952F18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085F925D-8AEB-48CC-8FB5-C3C2B0238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D492B745-F78F-4675-B594-05FC06EBB4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46FAB7FD-7A62-4416-99F4-89F16D7EA0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9276103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5C5C9C-F642-4BA1-8A98-B5876C82C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B0816F-0EDD-49E2-B9A8-1D95D6943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66617-8F38-4448-8196-E220B612D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9978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71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B6CCAF7-D53A-49D2-811F-A8F83A7B327B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2856B76-941B-4ADA-8EF5-820A4B31FC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949CC49-8AC1-46F1-A9CB-7D1703D4A0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EAC81131-807B-481B-8BE9-7758F3EF20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B893F76-90D5-40E5-A58E-15D7125CDC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A7C1E91F-68E0-461B-9A19-8DDA2F52A7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DECCB569-588D-4D54-A458-11BACEF315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C5ED5F4-D1F6-43A7-A1F9-71BFAA6DE5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643F8374-D00F-4C56-8925-4FA56854E9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D52ADE88-EEC9-431F-A0AC-613B5DE70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2AE2FE11-C27C-49AF-B0C7-58BEFA645D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7892129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F5DA332A-5FDA-44BD-83A8-C1B461175217}"/>
              </a:ext>
            </a:extLst>
          </p:cNvPr>
          <p:cNvSpPr txBox="1"/>
          <p:nvPr userDrawn="1"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EF67F89-55D5-4B02-B284-7F2FE86B67EB}"/>
              </a:ext>
            </a:extLst>
          </p:cNvPr>
          <p:cNvSpPr txBox="1"/>
          <p:nvPr userDrawn="1"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0682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17FACB0-195F-4DAB-9FD5-772A304E9FB3}"/>
              </a:ext>
            </a:extLst>
          </p:cNvPr>
          <p:cNvSpPr txBox="1"/>
          <p:nvPr userDrawn="1"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3822DAB5-ADF4-4108-87C8-45273001E73C}"/>
              </a:ext>
            </a:extLst>
          </p:cNvPr>
          <p:cNvSpPr txBox="1"/>
          <p:nvPr userDrawn="1"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6180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C7679691-90FD-4587-A54E-DFB71521FB0F}"/>
              </a:ext>
            </a:extLst>
          </p:cNvPr>
          <p:cNvSpPr txBox="1"/>
          <p:nvPr userDrawn="1"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4ACF8F1C-1E3E-405F-9EE4-66FBDF1175E0}"/>
              </a:ext>
            </a:extLst>
          </p:cNvPr>
          <p:cNvSpPr txBox="1"/>
          <p:nvPr userDrawn="1"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63843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E87B4871-A895-4F6C-A692-6DEF6F3DEE68}"/>
              </a:ext>
            </a:extLst>
          </p:cNvPr>
          <p:cNvSpPr txBox="1"/>
          <p:nvPr userDrawn="1"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D0A667F0-B7EF-4F5E-92CD-27B38F79EFE4}"/>
              </a:ext>
            </a:extLst>
          </p:cNvPr>
          <p:cNvSpPr txBox="1"/>
          <p:nvPr userDrawn="1"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00185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D2797B33-F6AE-464E-B1F9-AAF8C558042B}"/>
              </a:ext>
            </a:extLst>
          </p:cNvPr>
          <p:cNvSpPr txBox="1"/>
          <p:nvPr userDrawn="1"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8CA3D77-96FD-468A-A22B-1C767AC6D413}"/>
              </a:ext>
            </a:extLst>
          </p:cNvPr>
          <p:cNvSpPr txBox="1"/>
          <p:nvPr userDrawn="1"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13740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662556F3-FB07-45E1-9730-3CF5E862F61B}"/>
              </a:ext>
            </a:extLst>
          </p:cNvPr>
          <p:cNvSpPr txBox="1"/>
          <p:nvPr userDrawn="1"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D45EF10F-B1C8-4ED2-A091-1C2F837B31E4}"/>
              </a:ext>
            </a:extLst>
          </p:cNvPr>
          <p:cNvSpPr txBox="1"/>
          <p:nvPr userDrawn="1"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42007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0DD3CDC-03F0-45B8-ACB9-8564649155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1504955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2920" y="2556000"/>
            <a:ext cx="2592000" cy="3394800"/>
          </a:xfrm>
        </p:spPr>
        <p:txBody>
          <a:bodyPr>
            <a:normAutofit/>
          </a:bodyPr>
          <a:lstStyle>
            <a:lvl1pPr marL="0" indent="0">
              <a:defRPr sz="1300" b="1">
                <a:solidFill>
                  <a:schemeClr val="bg1"/>
                </a:solidFill>
                <a:latin typeface="+mj-lt"/>
              </a:defRPr>
            </a:lvl1pPr>
            <a:lvl2pPr marL="10477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>
            <a:normAutofit/>
          </a:bodyPr>
          <a:lstStyle>
            <a:lvl1pPr marL="0" indent="0">
              <a:defRPr sz="1300" b="1">
                <a:solidFill>
                  <a:schemeClr val="bg1"/>
                </a:solidFill>
                <a:latin typeface="+mj-lt"/>
              </a:defRPr>
            </a:lvl1pPr>
            <a:lvl2pPr marL="10477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>
            <a:normAutofit/>
          </a:bodyPr>
          <a:lstStyle>
            <a:lvl1pPr marL="0" indent="0">
              <a:defRPr sz="1300" b="1">
                <a:solidFill>
                  <a:schemeClr val="bg1"/>
                </a:solidFill>
                <a:latin typeface="+mj-lt"/>
              </a:defRPr>
            </a:lvl1pPr>
            <a:lvl2pPr marL="10477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>
            <a:normAutofit/>
          </a:bodyPr>
          <a:lstStyle>
            <a:lvl1pPr marL="0" indent="0">
              <a:defRPr sz="1300" b="1">
                <a:solidFill>
                  <a:schemeClr val="bg1"/>
                </a:solidFill>
                <a:latin typeface="+mj-lt"/>
              </a:defRPr>
            </a:lvl1pPr>
            <a:lvl2pPr marL="10477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 userDrawn="1"/>
        </p:nvSpPr>
        <p:spPr>
          <a:xfrm>
            <a:off x="6335184" y="6477002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 userDrawn="1"/>
        </p:nvSpPr>
        <p:spPr>
          <a:xfrm>
            <a:off x="501649" y="6477000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09510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5" y="4249684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4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3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03400EF-52A1-4F49-9A72-7AAA7A3E2109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7EBD73-619B-4083-AA58-A9B7F851FABB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36D0BF-951E-4BCD-8E21-2F3F2629B1BE}"/>
              </a:ext>
            </a:extLst>
          </p:cNvPr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87004E2-4A82-478A-BFDB-7103ADDD0F56}"/>
              </a:ext>
            </a:extLst>
          </p:cNvPr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066" y="1856232"/>
            <a:ext cx="553369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6930" y="1847618"/>
            <a:ext cx="553369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8732" y="4256623"/>
            <a:ext cx="553369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5459" y="4256623"/>
            <a:ext cx="553369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16363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15509-E80F-4197-AEE4-DEE916ED70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7708D1-633C-4882-9C3F-6EBA6916B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0B34A-94AE-47AB-9633-D8F378C245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1D84E7-21B7-49DA-B653-C15AE1B610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CCA290-1B8C-4C30-BDFB-4312169974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85A50F-3D23-4263-876F-887ACF2DA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1268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E312BEF-D981-409E-BB9D-8ADA7F5CEDA3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A3DCCC6C-7C7B-4959-9802-AA86D4A5D4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BB35EFE-3FC8-4B92-BB36-3C8D37C8F2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88576374-1FBE-4083-9352-4C1DBD474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96B7D103-6910-4DFD-9346-26787E9B9E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88B02810-A46E-4CCF-8770-29A5850AB44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C002C259-A628-46D7-85B5-4E7990B538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24B8794B-90C4-432D-98F0-8319EA943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585E0BDF-5DCD-4C36-9D16-489F0BC857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3FE3125-2476-46F4-AEEC-D6EAF80C76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698FEF2-CDD3-4796-A7C5-DD3DDD389D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84540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27C09EB3-4C86-4B88-B9B3-4061BBB643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11332" y="804672"/>
            <a:ext cx="7205472" cy="54041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551262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A0BD833-5739-4FDB-B21F-A7A7C0EEC237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D1771689-8745-4F67-ACB0-2FA880B629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3568588-502F-4601-817C-92A013540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DA2B9600-D91E-468D-9D31-33B92E3947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01FF30FF-ADCC-4CD2-B09E-60F75CA993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626A5D63-C61D-476A-A2EC-68200DDB9C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7CF26D08-DDCB-480D-A0A6-78132794DD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480F8B4-FD1C-4275-AAA2-9419EC0B46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5B7B28FE-7DA7-4E92-B122-4B8FF96D2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DD066F0D-1BE8-441F-AEA3-D80F502E6D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400E2E76-B6C3-46F1-A088-5C42F7BC8C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832587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6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B09C439-6EAE-4988-B2EB-173546F60C3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1651" y="1665290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7989224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2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4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75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368308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-4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981322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62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3" y="317504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939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0242456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D8291C-126E-490A-B0E9-86CB4DEC45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0FDD9C-291F-4479-9461-6170B49CAC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4F5E8A-095F-493E-939D-7CDA4E59B6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C6A5A-C9A4-4C7D-8DED-C02E05EAD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883CEE-D2A3-4B4D-BDF6-58568FBBC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9084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795650-EFA4-4BAB-9C8F-D6BD46783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199E0F-4753-4850-B01D-A5089748AB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1353C5-EDDA-45E7-ADDC-1D0F40899F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5AB72B-2787-46F7-A913-E836DA153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A71FF-C5A4-4CE4-963B-6ED525D50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031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409649-AB36-4F7C-A1C5-DA23A10003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893FEE-102D-4BD1-BE9C-540A35B0E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AC7275-F3CE-45F8-BFA9-AF16EC2CC2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42B8A-4EE8-417F-B7A4-1CF58EEBD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45BE4F-34FF-4BD7-A495-C8CB8231B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842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3A8DF3-1222-4A95-B766-CF533250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C8C6917-DE67-4322-9696-6F798261EC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FBC127-92AF-4C1D-8A0E-B38C056776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197EC6-5AB1-49C6-A3E9-273B4C6A8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C58C40-B8E3-417E-B6DB-BB24C41C9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71C3D8-A9D2-4B2E-8758-87CFC77AB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41653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DCBC5A-F285-4440-A975-E830A0A23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A5F8D0-FA89-4BE8-B715-91F4D34153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A83102-C6A5-4D80-A838-459502540D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B900A9-8F1F-432A-8C0A-1FD7B2C0CF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DDCBCE-8698-49B7-A604-3375B82F0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6FCFCE-AA8D-4C35-A14C-CE2EF2A8A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84140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076AC-11D5-4BBC-81A3-9FDB39AEB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E45744-FA90-42AB-972F-3FB8261AC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258A63-BDE4-4E69-A9B0-BF35771429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EDCF25-AFB6-4B13-8091-FAA6480B78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D3B64F-1883-456F-B981-20CE73802F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3DFAD9-ED8E-4042-92AF-52320AF0EC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4B4ACD-D277-424C-8F0A-4C12580B6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C68D68-7EEE-4155-9445-601B5E9A0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0530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012746-3F9E-484A-AC00-5AD27B723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733789-F6CA-4A8C-AD68-BD49A8842C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DF9E80-BCB1-41BA-BEA8-3DACEE78B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E4E8E2-AC65-4198-9FD1-3E245C94B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55406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B458BF-7343-43AD-ADF8-336A5A6D63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DD03C-46F1-4CF6-B188-C51E4F885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9D8D8E-CCA3-4AA6-ACC6-B8D297591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6765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DD11B-A142-4468-9F2C-6897C629A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CEA8DA-795A-4D5F-8F65-486EACD60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055D3-09BD-4F42-9101-61B9C76DD6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8CF42D-5799-4E12-952D-251391085C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3BE0EA-D426-4A14-BF4D-DAD3CED69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17273A-4990-4F06-BF7D-12F673919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746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4BE56-98DF-455D-BC57-D1A098A85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83C7682-B1EF-4B88-B3BB-9EBCDF31D4B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8A20BA-4AAE-4F3D-81A8-A935B5A66D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91DD8C-860A-41EE-A914-7CFE589BAD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93F533-9851-4071-8C3D-C9B6451B8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CF1C40-61B1-40CD-A97D-26D459DED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3224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22DBA-7D43-4DD8-B5F9-AFD13F71D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294A83-582B-4F63-BFEE-2B059F1B04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1DFFC1-07CF-405F-8A4D-D730530662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28E4AC-A44B-4313-A3E2-F8BDA2141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9E6A9A-01CE-4851-AF87-C6061C866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67542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73D1812-25FE-4D2D-9874-BC4A3A36417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4D335A-582A-4C46-9DD8-3B33A4AA34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E8C3E4-2C69-4167-B624-04C518311D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D4F364-1943-408C-9DED-6C6046EFDE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5B4B49-1B46-4698-A823-281DF48AE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21655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FACE8-19D9-439D-85A1-0443C64E3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772E16-BD85-40DD-BEE4-A1FCBE3F7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D7764BD-E056-4B27-B852-78238793B9B5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132806-9254-4771-86AD-ECBA37586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redicting Lung Canc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9CDA8C-E8BF-4470-B6D5-32733FC0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8294" y="6356350"/>
            <a:ext cx="415506" cy="365125"/>
          </a:xfrm>
          <a:prstGeom prst="rect">
            <a:avLst/>
          </a:prstGeom>
        </p:spPr>
        <p:txBody>
          <a:bodyPr/>
          <a:lstStyle/>
          <a:p>
            <a:fld id="{53C16BF0-D0A7-4699-8E12-F20688EF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43492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2C292B-D0FC-4B4E-B4C2-F520C90B09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55BC3B7-AB62-4EFC-B03D-68ED9DA05D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7CED2-0E33-4401-9EC6-B37AD1CB6B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/>
          <a:lstStyle/>
          <a:p>
            <a:fld id="{421E57E6-223C-4CC1-95C7-4B49F1F1FA27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6AA7BF-B60C-4464-8238-F2033BCEC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A77D50-8FC2-4B13-B61B-8CFEF366A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8B2173-03CE-4A39-A5E0-C568C2F79B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124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slideLayout" Target="../slideLayouts/slideLayout82.xml"/><Relationship Id="rId47" Type="http://schemas.openxmlformats.org/officeDocument/2006/relationships/theme" Target="../theme/theme3.xml"/><Relationship Id="rId50" Type="http://schemas.openxmlformats.org/officeDocument/2006/relationships/oleObject" Target="../embeddings/oleObject2.bin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45" Type="http://schemas.openxmlformats.org/officeDocument/2006/relationships/slideLayout" Target="../slideLayouts/slideLayout85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4" Type="http://schemas.openxmlformats.org/officeDocument/2006/relationships/slideLayout" Target="../slideLayouts/slideLayout84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slideLayout" Target="../slideLayouts/slideLayout83.xml"/><Relationship Id="rId48" Type="http://schemas.openxmlformats.org/officeDocument/2006/relationships/vmlDrawing" Target="../drawings/vmlDrawing2.vml"/><Relationship Id="rId8" Type="http://schemas.openxmlformats.org/officeDocument/2006/relationships/slideLayout" Target="../slideLayouts/slideLayout4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4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0.xml"/><Relationship Id="rId41" Type="http://schemas.openxmlformats.org/officeDocument/2006/relationships/slideLayout" Target="../slideLayouts/slideLayout81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F142E9-9F60-4617-A674-81FB541A3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0601F0-43F1-4FF7-A393-12255CC958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EEA468-BFD3-487F-B12C-0BDF9380FC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89DA83-A9C1-4546-9290-3DA8DAF4DC98}" type="datetimeFigureOut">
              <a:rPr lang="en-US" smtClean="0"/>
              <a:t>1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EB49CF-9A9B-44F7-891E-3B9EB14483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06884E-406B-433D-B91C-88448B8B05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7FCAA0-68F5-4040-AE3B-A81F974978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649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5" y="6477001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Lung Cance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B454196E-839B-4501-A7C2-26E43515AA5E}"/>
              </a:ext>
            </a:extLst>
          </p:cNvPr>
          <p:cNvSpPr txBox="1"/>
          <p:nvPr userDrawn="1"/>
        </p:nvSpPr>
        <p:spPr>
          <a:xfrm>
            <a:off x="501649" y="6490485"/>
            <a:ext cx="5355168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50128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19270360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5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Lung Cancer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0"/>
            <a:ext cx="5355168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345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716" r:id="rId25"/>
    <p:sldLayoutId id="2147483717" r:id="rId26"/>
    <p:sldLayoutId id="2147483718" r:id="rId27"/>
    <p:sldLayoutId id="2147483719" r:id="rId28"/>
    <p:sldLayoutId id="2147483720" r:id="rId29"/>
    <p:sldLayoutId id="2147483721" r:id="rId30"/>
    <p:sldLayoutId id="2147483722" r:id="rId31"/>
    <p:sldLayoutId id="2147483723" r:id="rId32"/>
    <p:sldLayoutId id="2147483724" r:id="rId33"/>
    <p:sldLayoutId id="2147483725" r:id="rId34"/>
    <p:sldLayoutId id="2147483726" r:id="rId35"/>
    <p:sldLayoutId id="2147483727" r:id="rId36"/>
    <p:sldLayoutId id="2147483728" r:id="rId37"/>
    <p:sldLayoutId id="2147483729" r:id="rId38"/>
    <p:sldLayoutId id="2147483730" r:id="rId39"/>
    <p:sldLayoutId id="2147483731" r:id="rId40"/>
    <p:sldLayoutId id="2147483732" r:id="rId41"/>
    <p:sldLayoutId id="2147483733" r:id="rId42"/>
    <p:sldLayoutId id="2147483734" r:id="rId43"/>
    <p:sldLayoutId id="2147483735" r:id="rId44"/>
    <p:sldLayoutId id="2147483736" r:id="rId45"/>
    <p:sldLayoutId id="2147483737" r:id="rId46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3048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312">
          <p15:clr>
            <a:srgbClr val="F26B43"/>
          </p15:clr>
        </p15:guide>
        <p15:guide id="27" pos="7368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5329C3-01D3-423D-B98A-9A2E34C72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76ADE7-E624-4E63-94CA-3C934657D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E7710587-B541-4267-A18C-BE793F33E002}"/>
              </a:ext>
            </a:extLst>
          </p:cNvPr>
          <p:cNvSpPr txBox="1"/>
          <p:nvPr userDrawn="1"/>
        </p:nvSpPr>
        <p:spPr>
          <a:xfrm>
            <a:off x="838200" y="6345224"/>
            <a:ext cx="5355168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DC8312EF-D850-43CE-8BF5-4E2DFC02667D}"/>
              </a:ext>
            </a:extLst>
          </p:cNvPr>
          <p:cNvSpPr txBox="1"/>
          <p:nvPr userDrawn="1"/>
        </p:nvSpPr>
        <p:spPr>
          <a:xfrm>
            <a:off x="5731336" y="6361565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Lung Canc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D20F0A-83B9-45D2-96E1-DA2DD639775A}"/>
              </a:ext>
            </a:extLst>
          </p:cNvPr>
          <p:cNvSpPr txBox="1"/>
          <p:nvPr userDrawn="1"/>
        </p:nvSpPr>
        <p:spPr>
          <a:xfrm>
            <a:off x="11147844" y="6323092"/>
            <a:ext cx="41191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D6A7B9-E320-4201-AC53-7FF998BE6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C97210-2907-4200-B291-F5057AE7F1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D959F0-5F93-4922-85A3-3B8FF66EE20F}"/>
              </a:ext>
            </a:extLst>
          </p:cNvPr>
          <p:cNvSpPr txBox="1"/>
          <p:nvPr userDrawn="1"/>
        </p:nvSpPr>
        <p:spPr>
          <a:xfrm>
            <a:off x="11117652" y="6254190"/>
            <a:ext cx="47229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dirty="0"/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0486E847-DB12-4161-B6D0-DDFF56E196C4}"/>
              </a:ext>
            </a:extLst>
          </p:cNvPr>
          <p:cNvSpPr txBox="1"/>
          <p:nvPr userDrawn="1"/>
        </p:nvSpPr>
        <p:spPr>
          <a:xfrm>
            <a:off x="6032924" y="629266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Lung Cancer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B43B4A9E-B1AD-4748-B200-600490A27A4B}"/>
              </a:ext>
            </a:extLst>
          </p:cNvPr>
          <p:cNvSpPr txBox="1"/>
          <p:nvPr userDrawn="1"/>
        </p:nvSpPr>
        <p:spPr>
          <a:xfrm>
            <a:off x="838200" y="6311900"/>
            <a:ext cx="5355168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39015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210188-0817-4F88-ABA9-979E0104F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FE9F8A-FD6F-48A0-83C3-3EDAB4A4CF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627B536-80AB-4DF2-94C4-2C4F6F60B68C}"/>
              </a:ext>
            </a:extLst>
          </p:cNvPr>
          <p:cNvSpPr txBox="1"/>
          <p:nvPr userDrawn="1"/>
        </p:nvSpPr>
        <p:spPr>
          <a:xfrm>
            <a:off x="838200" y="6310312"/>
            <a:ext cx="5355168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6156C1E-534C-43FA-B559-E12706C8E0CF}"/>
              </a:ext>
            </a:extLst>
          </p:cNvPr>
          <p:cNvSpPr txBox="1"/>
          <p:nvPr userDrawn="1"/>
        </p:nvSpPr>
        <p:spPr>
          <a:xfrm>
            <a:off x="5756879" y="63119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Lung Canc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593BEE-F424-4D00-8CB6-5CD2A62A9F9F}"/>
              </a:ext>
            </a:extLst>
          </p:cNvPr>
          <p:cNvSpPr txBox="1"/>
          <p:nvPr userDrawn="1"/>
        </p:nvSpPr>
        <p:spPr>
          <a:xfrm>
            <a:off x="11117652" y="6277431"/>
            <a:ext cx="47229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726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CAB432B-E0E7-4F80-A4A1-76DCDC1FBF7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" r="15"/>
          <a:stretch>
            <a:fillRect/>
          </a:stretch>
        </p:blipFill>
        <p:spPr/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/>
                </a:solidFill>
              </a:rPr>
              <a:t>Predicting</a:t>
            </a:r>
            <a:r>
              <a:rPr lang="en-US" dirty="0">
                <a:solidFill>
                  <a:srgbClr val="92D050"/>
                </a:solidFill>
              </a:rPr>
              <a:t> Lung Canc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4118" y="6258560"/>
            <a:ext cx="4446269" cy="27305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Maya Sandli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9154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D81D76FF-F3D9-5804-88E3-E1636A8CF1C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09604" y="1842002"/>
            <a:ext cx="3459126" cy="3558362"/>
          </a:xfrm>
        </p:spPr>
        <p:txBody>
          <a:bodyPr/>
          <a:lstStyle/>
          <a:p>
            <a:r>
              <a:rPr lang="en-US" sz="2800" dirty="0"/>
              <a:t>This health care company wanted to develop a model to predict their patient’s likelihood of lung canc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D30E20-1946-418A-8DDA-E16F6E7FF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0239" y="317502"/>
            <a:ext cx="8391525" cy="334099"/>
          </a:xfrm>
        </p:spPr>
        <p:txBody>
          <a:bodyPr anchor="t">
            <a:noAutofit/>
          </a:bodyPr>
          <a:lstStyle/>
          <a:p>
            <a:r>
              <a:rPr lang="en-US" sz="2800" b="1" dirty="0"/>
              <a:t>Happy Healthca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A7B19AE-92EA-423B-80A0-5B6A59472E7B}"/>
              </a:ext>
            </a:extLst>
          </p:cNvPr>
          <p:cNvSpPr txBox="1">
            <a:spLocks/>
          </p:cNvSpPr>
          <p:nvPr/>
        </p:nvSpPr>
        <p:spPr>
          <a:xfrm>
            <a:off x="1900239" y="651601"/>
            <a:ext cx="8391525" cy="75725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975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975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975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975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75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53565A"/>
              </a:solidFill>
              <a:latin typeface="Calibri"/>
            </a:endParaRPr>
          </a:p>
        </p:txBody>
      </p:sp>
      <p:pic>
        <p:nvPicPr>
          <p:cNvPr id="3078" name="Picture 6">
            <a:extLst>
              <a:ext uri="{FF2B5EF4-FFF2-40B4-BE49-F238E27FC236}">
                <a16:creationId xmlns:a16="http://schemas.microsoft.com/office/drawing/2014/main" id="{392D9822-C021-423D-9FB4-241EBD955A3A}"/>
              </a:ext>
            </a:extLst>
          </p:cNvPr>
          <p:cNvPicPr>
            <a:picLocks noGrp="1" noChangeAspect="1" noChangeArrowheads="1"/>
          </p:cNvPicPr>
          <p:nvPr>
            <p:ph sz="quarter" idx="1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418" y="1880943"/>
            <a:ext cx="4641850" cy="309611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168424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What approach did we use to develop the model?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07CE754-0E03-4364-9F10-AD8E6F20C54B}"/>
              </a:ext>
            </a:extLst>
          </p:cNvPr>
          <p:cNvGrpSpPr/>
          <p:nvPr/>
        </p:nvGrpSpPr>
        <p:grpSpPr>
          <a:xfrm>
            <a:off x="1152150" y="1405758"/>
            <a:ext cx="9887700" cy="4539208"/>
            <a:chOff x="2634801" y="1840230"/>
            <a:chExt cx="7221292" cy="3315123"/>
          </a:xfrm>
        </p:grpSpPr>
        <p:sp>
          <p:nvSpPr>
            <p:cNvPr id="61" name="Rectangle 13"/>
            <p:cNvSpPr/>
            <p:nvPr/>
          </p:nvSpPr>
          <p:spPr>
            <a:xfrm rot="12691956">
              <a:off x="7660581" y="3033663"/>
              <a:ext cx="1173179" cy="1344110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tangle 13"/>
            <p:cNvSpPr/>
            <p:nvPr/>
          </p:nvSpPr>
          <p:spPr>
            <a:xfrm rot="9073758">
              <a:off x="5915099" y="2971874"/>
              <a:ext cx="1224381" cy="1402772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Rectangle 13"/>
            <p:cNvSpPr/>
            <p:nvPr/>
          </p:nvSpPr>
          <p:spPr>
            <a:xfrm rot="2024838">
              <a:off x="4000039" y="2840262"/>
              <a:ext cx="1611666" cy="1659646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Oval 63"/>
            <p:cNvSpPr>
              <a:spLocks noChangeAspect="1"/>
            </p:cNvSpPr>
            <p:nvPr/>
          </p:nvSpPr>
          <p:spPr>
            <a:xfrm>
              <a:off x="6528120" y="2325581"/>
              <a:ext cx="1748174" cy="1747304"/>
            </a:xfrm>
            <a:prstGeom prst="ellips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2634801" y="1840230"/>
              <a:ext cx="2241396" cy="2241396"/>
            </a:xfrm>
            <a:prstGeom prst="ellipse">
              <a:avLst/>
            </a:pr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Oval 65"/>
            <p:cNvSpPr>
              <a:spLocks noChangeAspect="1"/>
            </p:cNvSpPr>
            <p:nvPr/>
          </p:nvSpPr>
          <p:spPr>
            <a:xfrm>
              <a:off x="4689562" y="3199234"/>
              <a:ext cx="1957093" cy="1956119"/>
            </a:xfrm>
            <a:prstGeom prst="ellipse">
              <a:avLst/>
            </a:prstGeom>
            <a:solidFill>
              <a:schemeClr val="accent4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3271542" y="2252876"/>
              <a:ext cx="1325805" cy="1416105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und data </a:t>
              </a:r>
              <a:r>
                <a:rPr lang="en-US" dirty="0">
                  <a:solidFill>
                    <a:prstClr val="white"/>
                  </a:solidFill>
                  <a:latin typeface="Calibri"/>
                </a:rPr>
                <a:t>that considered the relevant features to determine someone’s likelihood of lung cancer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2705984" y="2416745"/>
              <a:ext cx="631825" cy="1088366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cxnSp>
          <p:nvCxnSpPr>
            <p:cNvPr id="69" name="Straight Connector 68"/>
            <p:cNvCxnSpPr/>
            <p:nvPr/>
          </p:nvCxnSpPr>
          <p:spPr>
            <a:xfrm>
              <a:off x="3195341" y="2236290"/>
              <a:ext cx="0" cy="1449276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Rectangle 69"/>
            <p:cNvSpPr/>
            <p:nvPr/>
          </p:nvSpPr>
          <p:spPr>
            <a:xfrm>
              <a:off x="5396503" y="3772691"/>
              <a:ext cx="1034476" cy="80920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uilt a Baseline Model </a:t>
              </a:r>
              <a:r>
                <a:rPr lang="en-US" dirty="0">
                  <a:solidFill>
                    <a:prstClr val="white"/>
                  </a:solidFill>
                  <a:latin typeface="Calibri"/>
                </a:rPr>
                <a:t>with Logistic Regression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4795158" y="3633109"/>
              <a:ext cx="631825" cy="1088366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cxnSp>
          <p:nvCxnSpPr>
            <p:cNvPr id="72" name="Straight Connector 71"/>
            <p:cNvCxnSpPr/>
            <p:nvPr/>
          </p:nvCxnSpPr>
          <p:spPr>
            <a:xfrm>
              <a:off x="5324503" y="3452654"/>
              <a:ext cx="0" cy="1449276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tangle 72"/>
            <p:cNvSpPr/>
            <p:nvPr/>
          </p:nvSpPr>
          <p:spPr>
            <a:xfrm>
              <a:off x="7226743" y="2693481"/>
              <a:ext cx="871368" cy="101150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veloped a second model  using Decision Trees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6596806" y="2655050"/>
              <a:ext cx="631825" cy="1088366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cxnSp>
          <p:nvCxnSpPr>
            <p:cNvPr id="75" name="Straight Connector 74"/>
            <p:cNvCxnSpPr/>
            <p:nvPr/>
          </p:nvCxnSpPr>
          <p:spPr>
            <a:xfrm>
              <a:off x="7144257" y="2521724"/>
              <a:ext cx="0" cy="1355021"/>
            </a:xfrm>
            <a:prstGeom prst="line">
              <a:avLst/>
            </a:prstGeom>
            <a:ln w="9525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Oval 75"/>
            <p:cNvSpPr>
              <a:spLocks noChangeAspect="1"/>
            </p:cNvSpPr>
            <p:nvPr/>
          </p:nvSpPr>
          <p:spPr>
            <a:xfrm>
              <a:off x="8153193" y="3386355"/>
              <a:ext cx="1702900" cy="1702053"/>
            </a:xfrm>
            <a:prstGeom prst="ellipse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8648224" y="4057558"/>
              <a:ext cx="1139516" cy="359646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commendations and Future Plans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8200125" y="3544514"/>
              <a:ext cx="631825" cy="1088366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cxnSp>
          <p:nvCxnSpPr>
            <p:cNvPr id="79" name="Straight Connector 78"/>
            <p:cNvCxnSpPr/>
            <p:nvPr/>
          </p:nvCxnSpPr>
          <p:spPr>
            <a:xfrm>
              <a:off x="8556753" y="3703718"/>
              <a:ext cx="0" cy="971461"/>
            </a:xfrm>
            <a:prstGeom prst="line">
              <a:avLst/>
            </a:prstGeom>
            <a:ln w="952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846930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27169" y="847651"/>
            <a:ext cx="11188700" cy="757255"/>
          </a:xfrm>
        </p:spPr>
        <p:txBody>
          <a:bodyPr/>
          <a:lstStyle/>
          <a:p>
            <a:r>
              <a:rPr lang="en-US" dirty="0"/>
              <a:t>Target factor: whether someone has lung cancer</a:t>
            </a:r>
          </a:p>
        </p:txBody>
      </p:sp>
      <p:sp>
        <p:nvSpPr>
          <p:cNvPr id="8212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What factors should the screening consider?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869337" y="1346578"/>
            <a:ext cx="6387456" cy="4909795"/>
            <a:chOff x="1902083" y="1888263"/>
            <a:chExt cx="5278889" cy="3688801"/>
          </a:xfrm>
        </p:grpSpPr>
        <p:sp>
          <p:nvSpPr>
            <p:cNvPr id="54" name="Oval 2"/>
            <p:cNvSpPr>
              <a:spLocks noChangeArrowheads="1"/>
            </p:cNvSpPr>
            <p:nvPr/>
          </p:nvSpPr>
          <p:spPr bwMode="auto">
            <a:xfrm>
              <a:off x="5514097" y="3837924"/>
              <a:ext cx="1666875" cy="766763"/>
            </a:xfrm>
            <a:prstGeom prst="ellipse">
              <a:avLst/>
            </a:prstGeom>
            <a:solidFill>
              <a:schemeClr val="tx1"/>
            </a:solidFill>
            <a:ln w="6350" algn="ctr">
              <a:noFill/>
              <a:round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Anxiety</a:t>
              </a:r>
            </a:p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Peer Pressure</a:t>
              </a:r>
            </a:p>
          </p:txBody>
        </p:sp>
        <p:sp>
          <p:nvSpPr>
            <p:cNvPr id="57" name="Oval 56"/>
            <p:cNvSpPr>
              <a:spLocks noChangeArrowheads="1"/>
            </p:cNvSpPr>
            <p:nvPr/>
          </p:nvSpPr>
          <p:spPr bwMode="auto">
            <a:xfrm>
              <a:off x="2714932" y="4810125"/>
              <a:ext cx="1666875" cy="766763"/>
            </a:xfrm>
            <a:prstGeom prst="ellipse">
              <a:avLst/>
            </a:prstGeom>
            <a:solidFill>
              <a:schemeClr val="tx1"/>
            </a:solidFill>
            <a:ln w="6350" algn="ctr">
              <a:noFill/>
              <a:round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Allergy</a:t>
              </a:r>
            </a:p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Wheezing</a:t>
              </a:r>
            </a:p>
          </p:txBody>
        </p:sp>
        <p:sp>
          <p:nvSpPr>
            <p:cNvPr id="58" name="Oval 57"/>
            <p:cNvSpPr>
              <a:spLocks noChangeArrowheads="1"/>
            </p:cNvSpPr>
            <p:nvPr/>
          </p:nvSpPr>
          <p:spPr bwMode="auto">
            <a:xfrm>
              <a:off x="4755688" y="4810301"/>
              <a:ext cx="1668463" cy="766763"/>
            </a:xfrm>
            <a:prstGeom prst="ellipse">
              <a:avLst/>
            </a:prstGeom>
            <a:solidFill>
              <a:schemeClr val="tx1"/>
            </a:solidFill>
            <a:ln w="6350" algn="ctr">
              <a:noFill/>
              <a:round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Chronic Disease</a:t>
              </a:r>
            </a:p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Fatigue</a:t>
              </a:r>
            </a:p>
          </p:txBody>
        </p:sp>
        <p:sp>
          <p:nvSpPr>
            <p:cNvPr id="59" name="Oval 58"/>
            <p:cNvSpPr>
              <a:spLocks noChangeArrowheads="1"/>
            </p:cNvSpPr>
            <p:nvPr/>
          </p:nvSpPr>
          <p:spPr bwMode="auto">
            <a:xfrm>
              <a:off x="3897013" y="3078163"/>
              <a:ext cx="1377682" cy="1233487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chemeClr val="accent6"/>
              </a:solidFill>
              <a:round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  <a:defRPr/>
              </a:pPr>
              <a:r>
                <a:rPr lang="en-US" altLang="ja-JP" sz="1200" dirty="0">
                  <a:ea typeface="ＭＳ Ｐゴシック" pitchFamily="50" charset="-128"/>
                </a:rPr>
                <a:t>Lung Cancer</a:t>
              </a:r>
            </a:p>
          </p:txBody>
        </p:sp>
        <p:sp>
          <p:nvSpPr>
            <p:cNvPr id="60" name="Oval 59"/>
            <p:cNvSpPr>
              <a:spLocks noChangeArrowheads="1"/>
            </p:cNvSpPr>
            <p:nvPr/>
          </p:nvSpPr>
          <p:spPr bwMode="auto">
            <a:xfrm>
              <a:off x="3751601" y="1888263"/>
              <a:ext cx="1666875" cy="766762"/>
            </a:xfrm>
            <a:prstGeom prst="ellipse">
              <a:avLst/>
            </a:prstGeom>
            <a:solidFill>
              <a:schemeClr val="tx1"/>
            </a:solidFill>
            <a:ln w="6350" algn="ctr">
              <a:noFill/>
              <a:round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Gender</a:t>
              </a:r>
            </a:p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Age</a:t>
              </a:r>
            </a:p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Chest pain</a:t>
              </a:r>
            </a:p>
          </p:txBody>
        </p:sp>
        <p:sp>
          <p:nvSpPr>
            <p:cNvPr id="61" name="Oval 60"/>
            <p:cNvSpPr>
              <a:spLocks noChangeArrowheads="1"/>
            </p:cNvSpPr>
            <p:nvPr/>
          </p:nvSpPr>
          <p:spPr bwMode="auto">
            <a:xfrm>
              <a:off x="5514097" y="2673120"/>
              <a:ext cx="1666875" cy="768350"/>
            </a:xfrm>
            <a:prstGeom prst="ellipse">
              <a:avLst/>
            </a:prstGeom>
            <a:solidFill>
              <a:schemeClr val="tx1"/>
            </a:solidFill>
            <a:ln w="6350" algn="ctr">
              <a:noFill/>
              <a:round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Smoking</a:t>
              </a:r>
            </a:p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Yellow Fingers</a:t>
              </a:r>
            </a:p>
          </p:txBody>
        </p:sp>
        <p:sp>
          <p:nvSpPr>
            <p:cNvPr id="62" name="Oval 61"/>
            <p:cNvSpPr>
              <a:spLocks noChangeArrowheads="1"/>
            </p:cNvSpPr>
            <p:nvPr/>
          </p:nvSpPr>
          <p:spPr bwMode="auto">
            <a:xfrm>
              <a:off x="1905307" y="2678012"/>
              <a:ext cx="1666875" cy="768350"/>
            </a:xfrm>
            <a:prstGeom prst="ellipse">
              <a:avLst/>
            </a:prstGeom>
            <a:solidFill>
              <a:schemeClr val="tx1"/>
            </a:solidFill>
            <a:ln w="6350" algn="ctr">
              <a:noFill/>
              <a:round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Shortness of Breath</a:t>
              </a:r>
            </a:p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Swallowing Difficulty</a:t>
              </a:r>
            </a:p>
          </p:txBody>
        </p:sp>
        <p:sp>
          <p:nvSpPr>
            <p:cNvPr id="63" name="Oval 62"/>
            <p:cNvSpPr>
              <a:spLocks noChangeArrowheads="1"/>
            </p:cNvSpPr>
            <p:nvPr/>
          </p:nvSpPr>
          <p:spPr bwMode="auto">
            <a:xfrm>
              <a:off x="1902083" y="3837924"/>
              <a:ext cx="1666875" cy="766763"/>
            </a:xfrm>
            <a:prstGeom prst="ellipse">
              <a:avLst/>
            </a:prstGeom>
            <a:solidFill>
              <a:schemeClr val="tx1"/>
            </a:solidFill>
            <a:ln w="6350" algn="ctr">
              <a:noFill/>
              <a:round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Alcohol Consuming</a:t>
              </a:r>
            </a:p>
            <a:p>
              <a:pPr algn="ctr" eaLnBrk="1" hangingPunct="1">
                <a:lnSpc>
                  <a:spcPct val="106000"/>
                </a:lnSpc>
                <a:spcBef>
                  <a:spcPct val="80000"/>
                </a:spcBef>
              </a:pPr>
              <a:r>
                <a:rPr lang="en-US" altLang="ja-JP" sz="1200" dirty="0">
                  <a:solidFill>
                    <a:schemeClr val="bg1"/>
                  </a:solidFill>
                  <a:ea typeface="ＭＳ Ｐゴシック" pitchFamily="50" charset="-128"/>
                </a:rPr>
                <a:t>Coughing</a:t>
              </a:r>
            </a:p>
          </p:txBody>
        </p:sp>
        <p:cxnSp>
          <p:nvCxnSpPr>
            <p:cNvPr id="64" name="AutoShape 13"/>
            <p:cNvCxnSpPr>
              <a:cxnSpLocks noChangeShapeType="1"/>
              <a:stCxn id="59" idx="0"/>
              <a:endCxn id="60" idx="4"/>
            </p:cNvCxnSpPr>
            <p:nvPr/>
          </p:nvCxnSpPr>
          <p:spPr bwMode="auto">
            <a:xfrm flipH="1" flipV="1">
              <a:off x="4585039" y="2655025"/>
              <a:ext cx="815" cy="423138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65" name="AutoShape 14"/>
            <p:cNvCxnSpPr>
              <a:cxnSpLocks noChangeShapeType="1"/>
              <a:stCxn id="58" idx="2"/>
              <a:endCxn id="57" idx="6"/>
            </p:cNvCxnSpPr>
            <p:nvPr/>
          </p:nvCxnSpPr>
          <p:spPr bwMode="auto">
            <a:xfrm flipH="1" flipV="1">
              <a:off x="4381807" y="5193507"/>
              <a:ext cx="373881" cy="176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66" name="AutoShape 15"/>
            <p:cNvCxnSpPr>
              <a:cxnSpLocks noChangeShapeType="1"/>
              <a:stCxn id="60" idx="6"/>
              <a:endCxn id="61" idx="0"/>
            </p:cNvCxnSpPr>
            <p:nvPr/>
          </p:nvCxnSpPr>
          <p:spPr bwMode="auto">
            <a:xfrm>
              <a:off x="5418476" y="2271644"/>
              <a:ext cx="929059" cy="401476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67" name="AutoShape 16"/>
            <p:cNvCxnSpPr>
              <a:cxnSpLocks noChangeShapeType="1"/>
              <a:stCxn id="61" idx="4"/>
              <a:endCxn id="54" idx="0"/>
            </p:cNvCxnSpPr>
            <p:nvPr/>
          </p:nvCxnSpPr>
          <p:spPr bwMode="auto">
            <a:xfrm>
              <a:off x="6347535" y="3441470"/>
              <a:ext cx="0" cy="396454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68" name="AutoShape 17"/>
            <p:cNvCxnSpPr>
              <a:cxnSpLocks noChangeShapeType="1"/>
              <a:stCxn id="54" idx="4"/>
              <a:endCxn id="58" idx="7"/>
            </p:cNvCxnSpPr>
            <p:nvPr/>
          </p:nvCxnSpPr>
          <p:spPr bwMode="auto">
            <a:xfrm flipH="1">
              <a:off x="6179810" y="4604687"/>
              <a:ext cx="167725" cy="317904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69" name="AutoShape 18"/>
            <p:cNvCxnSpPr>
              <a:cxnSpLocks noChangeShapeType="1"/>
              <a:stCxn id="57" idx="1"/>
              <a:endCxn id="63" idx="4"/>
            </p:cNvCxnSpPr>
            <p:nvPr/>
          </p:nvCxnSpPr>
          <p:spPr bwMode="auto">
            <a:xfrm flipH="1" flipV="1">
              <a:off x="2735521" y="4604687"/>
              <a:ext cx="223519" cy="317728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0" name="AutoShape 19"/>
            <p:cNvCxnSpPr>
              <a:cxnSpLocks noChangeShapeType="1"/>
              <a:stCxn id="62" idx="4"/>
              <a:endCxn id="63" idx="0"/>
            </p:cNvCxnSpPr>
            <p:nvPr/>
          </p:nvCxnSpPr>
          <p:spPr bwMode="auto">
            <a:xfrm flipH="1">
              <a:off x="2735521" y="3446362"/>
              <a:ext cx="3224" cy="391562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1" name="AutoShape 20"/>
            <p:cNvCxnSpPr>
              <a:cxnSpLocks noChangeShapeType="1"/>
              <a:stCxn id="62" idx="0"/>
              <a:endCxn id="60" idx="2"/>
            </p:cNvCxnSpPr>
            <p:nvPr/>
          </p:nvCxnSpPr>
          <p:spPr bwMode="auto">
            <a:xfrm flipV="1">
              <a:off x="2738745" y="2271644"/>
              <a:ext cx="1012856" cy="406368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2" name="AutoShape 21"/>
            <p:cNvCxnSpPr>
              <a:cxnSpLocks noChangeShapeType="1"/>
              <a:stCxn id="59" idx="3"/>
              <a:endCxn id="63" idx="6"/>
            </p:cNvCxnSpPr>
            <p:nvPr/>
          </p:nvCxnSpPr>
          <p:spPr bwMode="auto">
            <a:xfrm flipH="1">
              <a:off x="3568958" y="4131009"/>
              <a:ext cx="529812" cy="90296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3" name="AutoShape 22"/>
            <p:cNvCxnSpPr>
              <a:cxnSpLocks noChangeShapeType="1"/>
              <a:stCxn id="59" idx="5"/>
              <a:endCxn id="54" idx="2"/>
            </p:cNvCxnSpPr>
            <p:nvPr/>
          </p:nvCxnSpPr>
          <p:spPr bwMode="auto">
            <a:xfrm>
              <a:off x="5072937" y="4131010"/>
              <a:ext cx="441159" cy="90295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4" name="AutoShape 23"/>
            <p:cNvCxnSpPr>
              <a:cxnSpLocks noChangeShapeType="1"/>
              <a:stCxn id="59" idx="7"/>
              <a:endCxn id="61" idx="2"/>
            </p:cNvCxnSpPr>
            <p:nvPr/>
          </p:nvCxnSpPr>
          <p:spPr bwMode="auto">
            <a:xfrm flipV="1">
              <a:off x="5072938" y="3057295"/>
              <a:ext cx="441160" cy="201508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5" name="AutoShape 24"/>
            <p:cNvCxnSpPr>
              <a:cxnSpLocks noChangeShapeType="1"/>
              <a:stCxn id="62" idx="6"/>
              <a:endCxn id="59" idx="1"/>
            </p:cNvCxnSpPr>
            <p:nvPr/>
          </p:nvCxnSpPr>
          <p:spPr bwMode="auto">
            <a:xfrm>
              <a:off x="3572182" y="3062187"/>
              <a:ext cx="526588" cy="196616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6" name="AutoShape 25"/>
            <p:cNvCxnSpPr>
              <a:cxnSpLocks noChangeShapeType="1"/>
            </p:cNvCxnSpPr>
            <p:nvPr/>
          </p:nvCxnSpPr>
          <p:spPr bwMode="auto">
            <a:xfrm rot="5400000" flipH="1" flipV="1">
              <a:off x="4028555" y="4402507"/>
              <a:ext cx="610765" cy="429052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7" name="AutoShape 26"/>
            <p:cNvCxnSpPr>
              <a:cxnSpLocks noChangeShapeType="1"/>
            </p:cNvCxnSpPr>
            <p:nvPr/>
          </p:nvCxnSpPr>
          <p:spPr bwMode="auto">
            <a:xfrm rot="16200000" flipV="1">
              <a:off x="4482393" y="4414297"/>
              <a:ext cx="610765" cy="405472"/>
            </a:xfrm>
            <a:prstGeom prst="straightConnector1">
              <a:avLst/>
            </a:prstGeom>
            <a:noFill/>
            <a:ln w="6350">
              <a:solidFill>
                <a:srgbClr val="BBBCBC"/>
              </a:solidFill>
              <a:round/>
              <a:headEnd type="triangle" w="med" len="med"/>
              <a:tailEnd type="triangle" w="med" len="med"/>
            </a:ln>
          </p:spPr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E3E9BEA-6F6B-474C-B60D-7E56639C2E4C}"/>
              </a:ext>
            </a:extLst>
          </p:cNvPr>
          <p:cNvGrpSpPr/>
          <p:nvPr/>
        </p:nvGrpSpPr>
        <p:grpSpPr>
          <a:xfrm>
            <a:off x="8820651" y="334343"/>
            <a:ext cx="3021682" cy="588439"/>
            <a:chOff x="3128021" y="1830920"/>
            <a:chExt cx="6483122" cy="3467354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81247A46-A750-48FB-BDF2-D0D8725BE8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4174" y="2325580"/>
              <a:ext cx="1702904" cy="170205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9470CCD3-CA4B-4F41-9DE2-2CE3947DB276}"/>
                </a:ext>
              </a:extLst>
            </p:cNvPr>
            <p:cNvSpPr/>
            <p:nvPr/>
          </p:nvSpPr>
          <p:spPr>
            <a:xfrm>
              <a:off x="3128021" y="2112957"/>
              <a:ext cx="1748175" cy="1968665"/>
            </a:xfrm>
            <a:prstGeom prst="ellipse">
              <a:avLst/>
            </a:prstGeom>
            <a:solidFill>
              <a:srgbClr val="007CB0"/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EE27D806-3C27-4F8C-B703-73347F0C88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9564" y="3370950"/>
              <a:ext cx="1785290" cy="178440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21949273-D894-4513-89AA-58B56F2A2D6C}"/>
                </a:ext>
              </a:extLst>
            </p:cNvPr>
            <p:cNvSpPr txBox="1"/>
            <p:nvPr/>
          </p:nvSpPr>
          <p:spPr>
            <a:xfrm>
              <a:off x="3742997" y="1830920"/>
              <a:ext cx="1133198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465CAA3-8058-4440-B60E-E00985A5EFDC}"/>
                </a:ext>
              </a:extLst>
            </p:cNvPr>
            <p:cNvSpPr/>
            <p:nvPr/>
          </p:nvSpPr>
          <p:spPr>
            <a:xfrm>
              <a:off x="5288633" y="3881273"/>
              <a:ext cx="1207547" cy="1274080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E60B55C-9BD2-443D-9241-FDA693EB7F8C}"/>
                </a:ext>
              </a:extLst>
            </p:cNvPr>
            <p:cNvSpPr txBox="1"/>
            <p:nvPr/>
          </p:nvSpPr>
          <p:spPr>
            <a:xfrm>
              <a:off x="535018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FD96B58F-9949-4CDF-A76A-98EDDDE11D41}"/>
                </a:ext>
              </a:extLst>
            </p:cNvPr>
            <p:cNvSpPr/>
            <p:nvPr/>
          </p:nvSpPr>
          <p:spPr>
            <a:xfrm>
              <a:off x="7226743" y="3009456"/>
              <a:ext cx="871368" cy="37955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2DBBD7C-904B-4DA4-87E2-8C5AA3F9E59B}"/>
                </a:ext>
              </a:extLst>
            </p:cNvPr>
            <p:cNvSpPr txBox="1"/>
            <p:nvPr/>
          </p:nvSpPr>
          <p:spPr>
            <a:xfrm>
              <a:off x="6897259" y="2017487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kern="0" dirty="0">
                  <a:solidFill>
                    <a:prstClr val="white"/>
                  </a:solidFill>
                </a:rPr>
                <a:t>3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3EE75462-351F-447A-9F67-B5B2A9457A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41266" y="3374951"/>
              <a:ext cx="1769877" cy="1768999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639C800-FAC8-43BC-BDB7-A49363A57D0C}"/>
                </a:ext>
              </a:extLst>
            </p:cNvPr>
            <p:cNvSpPr txBox="1"/>
            <p:nvPr/>
          </p:nvSpPr>
          <p:spPr>
            <a:xfrm>
              <a:off x="841029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515371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27169" y="847651"/>
            <a:ext cx="11188700" cy="757255"/>
          </a:xfrm>
        </p:spPr>
        <p:txBody>
          <a:bodyPr/>
          <a:lstStyle/>
          <a:p>
            <a:r>
              <a:rPr lang="en-US" dirty="0"/>
              <a:t>The data was found from Kaggle. </a:t>
            </a:r>
          </a:p>
        </p:txBody>
      </p:sp>
      <p:sp>
        <p:nvSpPr>
          <p:cNvPr id="8212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How was this data found?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E3E9BEA-6F6B-474C-B60D-7E56639C2E4C}"/>
              </a:ext>
            </a:extLst>
          </p:cNvPr>
          <p:cNvGrpSpPr/>
          <p:nvPr/>
        </p:nvGrpSpPr>
        <p:grpSpPr>
          <a:xfrm>
            <a:off x="8820651" y="334343"/>
            <a:ext cx="3021682" cy="588439"/>
            <a:chOff x="3128021" y="1830920"/>
            <a:chExt cx="6483122" cy="3467354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81247A46-A750-48FB-BDF2-D0D8725BE8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4174" y="2325580"/>
              <a:ext cx="1702904" cy="170205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9470CCD3-CA4B-4F41-9DE2-2CE3947DB276}"/>
                </a:ext>
              </a:extLst>
            </p:cNvPr>
            <p:cNvSpPr/>
            <p:nvPr/>
          </p:nvSpPr>
          <p:spPr>
            <a:xfrm>
              <a:off x="3128021" y="2112957"/>
              <a:ext cx="1748175" cy="1968665"/>
            </a:xfrm>
            <a:prstGeom prst="ellipse">
              <a:avLst/>
            </a:prstGeom>
            <a:solidFill>
              <a:srgbClr val="007CB0"/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EE27D806-3C27-4F8C-B703-73347F0C88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9564" y="3370950"/>
              <a:ext cx="1785290" cy="178440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21949273-D894-4513-89AA-58B56F2A2D6C}"/>
                </a:ext>
              </a:extLst>
            </p:cNvPr>
            <p:cNvSpPr txBox="1"/>
            <p:nvPr/>
          </p:nvSpPr>
          <p:spPr>
            <a:xfrm>
              <a:off x="3742997" y="1830920"/>
              <a:ext cx="1133198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465CAA3-8058-4440-B60E-E00985A5EFDC}"/>
                </a:ext>
              </a:extLst>
            </p:cNvPr>
            <p:cNvSpPr/>
            <p:nvPr/>
          </p:nvSpPr>
          <p:spPr>
            <a:xfrm>
              <a:off x="5288633" y="3881273"/>
              <a:ext cx="1207547" cy="1274080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E60B55C-9BD2-443D-9241-FDA693EB7F8C}"/>
                </a:ext>
              </a:extLst>
            </p:cNvPr>
            <p:cNvSpPr txBox="1"/>
            <p:nvPr/>
          </p:nvSpPr>
          <p:spPr>
            <a:xfrm>
              <a:off x="535018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FD96B58F-9949-4CDF-A76A-98EDDDE11D41}"/>
                </a:ext>
              </a:extLst>
            </p:cNvPr>
            <p:cNvSpPr/>
            <p:nvPr/>
          </p:nvSpPr>
          <p:spPr>
            <a:xfrm>
              <a:off x="7226743" y="3009456"/>
              <a:ext cx="871368" cy="37955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2DBBD7C-904B-4DA4-87E2-8C5AA3F9E59B}"/>
                </a:ext>
              </a:extLst>
            </p:cNvPr>
            <p:cNvSpPr txBox="1"/>
            <p:nvPr/>
          </p:nvSpPr>
          <p:spPr>
            <a:xfrm>
              <a:off x="6897259" y="2017487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kern="0" dirty="0">
                  <a:solidFill>
                    <a:prstClr val="white"/>
                  </a:solidFill>
                </a:rPr>
                <a:t>3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3EE75462-351F-447A-9F67-B5B2A9457A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41266" y="3374951"/>
              <a:ext cx="1769877" cy="1768999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639C800-FAC8-43BC-BDB7-A49363A57D0C}"/>
                </a:ext>
              </a:extLst>
            </p:cNvPr>
            <p:cNvSpPr txBox="1"/>
            <p:nvPr/>
          </p:nvSpPr>
          <p:spPr>
            <a:xfrm>
              <a:off x="841029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</a:t>
              </a:r>
            </a:p>
          </p:txBody>
        </p:sp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1998066C-91D6-48BA-8E2D-CDC5474BE7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1706" y="1800958"/>
            <a:ext cx="6311422" cy="4100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8826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A6A23E1D-2561-45FA-9A6D-C56EE7B8B238}"/>
              </a:ext>
            </a:extLst>
          </p:cNvPr>
          <p:cNvGrpSpPr/>
          <p:nvPr/>
        </p:nvGrpSpPr>
        <p:grpSpPr>
          <a:xfrm>
            <a:off x="1801502" y="1420091"/>
            <a:ext cx="4263278" cy="4439640"/>
            <a:chOff x="5446709" y="2196601"/>
            <a:chExt cx="3326645" cy="3320715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91543241-222C-4917-B42C-98BCC38F49A2}"/>
                </a:ext>
              </a:extLst>
            </p:cNvPr>
            <p:cNvSpPr/>
            <p:nvPr/>
          </p:nvSpPr>
          <p:spPr bwMode="gray">
            <a:xfrm>
              <a:off x="5791199" y="2365882"/>
              <a:ext cx="2982155" cy="2982155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4000" b="1" dirty="0">
                  <a:solidFill>
                    <a:schemeClr val="bg1"/>
                  </a:solidFill>
                </a:rPr>
                <a:t>88.46%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E983A44-A57C-458F-BD14-6C337D5E51FE}"/>
                </a:ext>
              </a:extLst>
            </p:cNvPr>
            <p:cNvSpPr txBox="1"/>
            <p:nvPr/>
          </p:nvSpPr>
          <p:spPr>
            <a:xfrm>
              <a:off x="5446709" y="2196601"/>
              <a:ext cx="3326645" cy="3320715"/>
            </a:xfrm>
            <a:prstGeom prst="rect">
              <a:avLst/>
            </a:prstGeom>
            <a:noFill/>
          </p:spPr>
          <p:txBody>
            <a:bodyPr spcFirstLastPara="1" wrap="square" lIns="0" tIns="0" rIns="0" bIns="0" numCol="1" rtlCol="0">
              <a:prstTxWarp prst="textArchUp">
                <a:avLst>
                  <a:gd name="adj" fmla="val 11715203"/>
                </a:avLst>
              </a:prstTxWarp>
              <a:noAutofit/>
            </a:bodyPr>
            <a:lstStyle/>
            <a:p>
              <a:r>
                <a:rPr lang="en-GB" sz="2400" dirty="0">
                  <a:solidFill>
                    <a:schemeClr val="accent1"/>
                  </a:solidFill>
                </a:rPr>
                <a:t>Accuracy</a:t>
              </a:r>
              <a:endParaRPr lang="en-GB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6BD0526-8B39-4EE1-9368-326203CFBA52}"/>
              </a:ext>
            </a:extLst>
          </p:cNvPr>
          <p:cNvSpPr txBox="1"/>
          <p:nvPr/>
        </p:nvSpPr>
        <p:spPr>
          <a:xfrm>
            <a:off x="1789177" y="842821"/>
            <a:ext cx="49868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white"/>
                </a:solidFill>
                <a:latin typeface="Calibri"/>
              </a:rPr>
              <a:t>Used logistic regression mod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E43275-85DA-4022-8CD8-5A9BBC3EF71B}"/>
              </a:ext>
            </a:extLst>
          </p:cNvPr>
          <p:cNvSpPr txBox="1"/>
          <p:nvPr/>
        </p:nvSpPr>
        <p:spPr>
          <a:xfrm>
            <a:off x="1801502" y="272257"/>
            <a:ext cx="588873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3600" dirty="0">
                <a:solidFill>
                  <a:srgbClr val="86BC25"/>
                </a:solidFill>
                <a:latin typeface="Calibri"/>
              </a:rPr>
              <a:t>Created a baseline model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424616-D8C1-4CC8-A047-05A28E567289}"/>
              </a:ext>
            </a:extLst>
          </p:cNvPr>
          <p:cNvGrpSpPr/>
          <p:nvPr/>
        </p:nvGrpSpPr>
        <p:grpSpPr>
          <a:xfrm>
            <a:off x="8820651" y="334343"/>
            <a:ext cx="3021682" cy="588439"/>
            <a:chOff x="3128021" y="1830920"/>
            <a:chExt cx="6483122" cy="3467354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75CE8BD-AD5D-4B19-A757-E6D5548EA2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4174" y="2325580"/>
              <a:ext cx="1702904" cy="170205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FC1C11C-F30F-4E9D-ABEB-A19BB637D370}"/>
                </a:ext>
              </a:extLst>
            </p:cNvPr>
            <p:cNvSpPr/>
            <p:nvPr/>
          </p:nvSpPr>
          <p:spPr>
            <a:xfrm>
              <a:off x="3128021" y="2112957"/>
              <a:ext cx="1748175" cy="196866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06143E5-C340-4B1E-A4C8-6F92A4B40E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9564" y="3370950"/>
              <a:ext cx="1785290" cy="1784402"/>
            </a:xfrm>
            <a:prstGeom prst="ellipse">
              <a:avLst/>
            </a:prstGeom>
            <a:solidFill>
              <a:srgbClr val="046A38"/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5A87C44-40C4-4220-B10B-B4A6DE30DAF8}"/>
                </a:ext>
              </a:extLst>
            </p:cNvPr>
            <p:cNvSpPr txBox="1"/>
            <p:nvPr/>
          </p:nvSpPr>
          <p:spPr>
            <a:xfrm>
              <a:off x="3742997" y="1830920"/>
              <a:ext cx="1133198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49825F9-9FB1-48B4-8854-7269248D4E24}"/>
                </a:ext>
              </a:extLst>
            </p:cNvPr>
            <p:cNvSpPr/>
            <p:nvPr/>
          </p:nvSpPr>
          <p:spPr>
            <a:xfrm>
              <a:off x="5288633" y="3881273"/>
              <a:ext cx="1207547" cy="1274080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60629D4-C40E-429F-9D72-07F2CD06403E}"/>
                </a:ext>
              </a:extLst>
            </p:cNvPr>
            <p:cNvSpPr txBox="1"/>
            <p:nvPr/>
          </p:nvSpPr>
          <p:spPr>
            <a:xfrm>
              <a:off x="535018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F5E3BAE-8BEF-49DD-A31E-88E39690CBD3}"/>
                </a:ext>
              </a:extLst>
            </p:cNvPr>
            <p:cNvSpPr/>
            <p:nvPr/>
          </p:nvSpPr>
          <p:spPr>
            <a:xfrm>
              <a:off x="7226743" y="3009456"/>
              <a:ext cx="871368" cy="37955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D8135B2-F27D-47BA-B364-6F6B03E7A249}"/>
                </a:ext>
              </a:extLst>
            </p:cNvPr>
            <p:cNvSpPr txBox="1"/>
            <p:nvPr/>
          </p:nvSpPr>
          <p:spPr>
            <a:xfrm>
              <a:off x="6897259" y="2017487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kern="0" dirty="0">
                  <a:solidFill>
                    <a:prstClr val="white"/>
                  </a:solidFill>
                </a:rPr>
                <a:t>3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3BCBB9D-839E-45ED-B673-412D633AB0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41266" y="3374951"/>
              <a:ext cx="1769877" cy="1768999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6C8D822-DE53-46BB-ADA0-D4744DF88F14}"/>
                </a:ext>
              </a:extLst>
            </p:cNvPr>
            <p:cNvSpPr txBox="1"/>
            <p:nvPr/>
          </p:nvSpPr>
          <p:spPr>
            <a:xfrm>
              <a:off x="841029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15CAC7DE-D33F-4910-A955-F0595405F2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8831"/>
          <a:stretch/>
        </p:blipFill>
        <p:spPr>
          <a:xfrm>
            <a:off x="7437479" y="1975949"/>
            <a:ext cx="3845156" cy="332792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0320144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EC756AE0-DD36-4AFB-856C-B12A82F722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651" y="2025740"/>
            <a:ext cx="5305579" cy="3995559"/>
          </a:xfrm>
          <a:prstGeom prst="rect">
            <a:avLst/>
          </a:prstGeom>
          <a:noFill/>
        </p:spPr>
      </p:pic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8877EA8-894E-F3B3-4168-BD1AC1329F9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37 in True Posi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 in False Posi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5 in False Nega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65 in True Negati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37 were correctly predicted not to have lung canc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65 were correctly predicted to have lung cancer.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757255"/>
          </a:xfrm>
        </p:spPr>
        <p:txBody>
          <a:bodyPr>
            <a:normAutofit/>
          </a:bodyPr>
          <a:lstStyle/>
          <a:p>
            <a:r>
              <a:rPr lang="en-US" dirty="0"/>
              <a:t>Decision tree had an accuracy of 92.31%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 anchor="t">
            <a:noAutofit/>
          </a:bodyPr>
          <a:lstStyle/>
          <a:p>
            <a:r>
              <a:rPr lang="en-US" sz="2400" dirty="0"/>
              <a:t>How did the decision tree model perform in comparison?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348051E-5CAB-45CD-8A62-F15965C85FB2}"/>
              </a:ext>
            </a:extLst>
          </p:cNvPr>
          <p:cNvGrpSpPr/>
          <p:nvPr/>
        </p:nvGrpSpPr>
        <p:grpSpPr>
          <a:xfrm>
            <a:off x="8820651" y="334343"/>
            <a:ext cx="3021682" cy="588439"/>
            <a:chOff x="3128021" y="1830920"/>
            <a:chExt cx="6483122" cy="346735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F04ECF8-C13F-47A9-890F-9DA2FCA18F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4174" y="2325580"/>
              <a:ext cx="1702904" cy="1702055"/>
            </a:xfrm>
            <a:prstGeom prst="ellipse">
              <a:avLst/>
            </a:prstGeom>
            <a:solidFill>
              <a:srgbClr val="43B02A"/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8D355D8-B0C5-421C-A223-151A8AEC01A6}"/>
                </a:ext>
              </a:extLst>
            </p:cNvPr>
            <p:cNvSpPr/>
            <p:nvPr/>
          </p:nvSpPr>
          <p:spPr>
            <a:xfrm>
              <a:off x="3128021" y="2112957"/>
              <a:ext cx="1748175" cy="196866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2FC3BC4-32EA-4002-B8E9-4DCA7F75AF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9564" y="3370950"/>
              <a:ext cx="1785290" cy="178440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A668CCA-B710-4EBD-82A1-3FE488B6C544}"/>
                </a:ext>
              </a:extLst>
            </p:cNvPr>
            <p:cNvSpPr txBox="1"/>
            <p:nvPr/>
          </p:nvSpPr>
          <p:spPr>
            <a:xfrm>
              <a:off x="3742997" y="1830920"/>
              <a:ext cx="1133198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A1C7323-05E3-48BA-903A-CC8DFA2D96CA}"/>
                </a:ext>
              </a:extLst>
            </p:cNvPr>
            <p:cNvSpPr/>
            <p:nvPr/>
          </p:nvSpPr>
          <p:spPr>
            <a:xfrm>
              <a:off x="5288633" y="3881273"/>
              <a:ext cx="1207547" cy="1274080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8E6C0DC-AEC6-42E0-BF12-0470F14B4277}"/>
                </a:ext>
              </a:extLst>
            </p:cNvPr>
            <p:cNvSpPr txBox="1"/>
            <p:nvPr/>
          </p:nvSpPr>
          <p:spPr>
            <a:xfrm>
              <a:off x="535018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48F204F-0D5A-449E-A47C-82008CA9B041}"/>
                </a:ext>
              </a:extLst>
            </p:cNvPr>
            <p:cNvSpPr/>
            <p:nvPr/>
          </p:nvSpPr>
          <p:spPr>
            <a:xfrm>
              <a:off x="7226743" y="3009456"/>
              <a:ext cx="871368" cy="37955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A531DA2-8188-4F12-BA71-0E630864B02E}"/>
                </a:ext>
              </a:extLst>
            </p:cNvPr>
            <p:cNvSpPr txBox="1"/>
            <p:nvPr/>
          </p:nvSpPr>
          <p:spPr>
            <a:xfrm>
              <a:off x="6897259" y="2017487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kern="0" dirty="0">
                  <a:solidFill>
                    <a:prstClr val="white"/>
                  </a:solidFill>
                </a:rPr>
                <a:t>3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07F98AE-BDE7-4580-8340-B2F28AA850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41266" y="3374951"/>
              <a:ext cx="1769877" cy="1768999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4E8F66A-2916-438C-A534-56707ED16635}"/>
                </a:ext>
              </a:extLst>
            </p:cNvPr>
            <p:cNvSpPr txBox="1"/>
            <p:nvPr/>
          </p:nvSpPr>
          <p:spPr>
            <a:xfrm>
              <a:off x="841029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806635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 and Future work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89718" y="1992243"/>
            <a:ext cx="9812564" cy="5564647"/>
            <a:chOff x="2039620" y="1776413"/>
            <a:chExt cx="5054281" cy="3432249"/>
          </a:xfrm>
        </p:grpSpPr>
        <p:sp>
          <p:nvSpPr>
            <p:cNvPr id="31" name="Pentagon 12"/>
            <p:cNvSpPr/>
            <p:nvPr/>
          </p:nvSpPr>
          <p:spPr>
            <a:xfrm flipH="1">
              <a:off x="3757307" y="1776413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32" name="Pentagon 9"/>
            <p:cNvSpPr/>
            <p:nvPr/>
          </p:nvSpPr>
          <p:spPr>
            <a:xfrm>
              <a:off x="2039620" y="177641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33" name="Pentagon 9"/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34" name="Pentagon 12"/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092385" y="1884318"/>
              <a:ext cx="3633799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Recommendations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205368" y="2812686"/>
              <a:ext cx="1830754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Future work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122170" y="4146576"/>
              <a:ext cx="901700" cy="24198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Options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122170" y="462705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endParaRPr 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51" name="Half Frame 50"/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811821" y="2021303"/>
              <a:ext cx="1945849" cy="61555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2000" dirty="0">
                  <a:solidFill>
                    <a:schemeClr val="bg1"/>
                  </a:solidFill>
                </a:rPr>
                <a:t>Use the decision tree model</a:t>
              </a:r>
            </a:p>
            <a:p>
              <a:r>
                <a:rPr lang="en-US" sz="2000" dirty="0">
                  <a:solidFill>
                    <a:schemeClr val="bg1"/>
                  </a:solidFill>
                </a:rPr>
                <a:t>It has a higher accuracy.</a:t>
              </a:r>
            </a:p>
          </p:txBody>
        </p:sp>
        <p:sp>
          <p:nvSpPr>
            <p:cNvPr id="53" name="Half Frame 52"/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4811821" y="2919947"/>
              <a:ext cx="1945849" cy="61555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</a:rPr>
                <a:t>Re-create the model with  higher sample size with more people, who do not have lung cancer.</a:t>
              </a:r>
            </a:p>
          </p:txBody>
        </p:sp>
        <p:sp>
          <p:nvSpPr>
            <p:cNvPr id="55" name="Half Frame 54"/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4811821" y="3674514"/>
              <a:ext cx="1945849" cy="61555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is is dummy text it is not here to be read. The is just text to show where you could insert text. This is dummy text.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4811821" y="4593109"/>
              <a:ext cx="1945849" cy="61555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000" dirty="0">
                  <a:solidFill>
                    <a:schemeClr val="bg1"/>
                  </a:solidFill>
                </a:rPr>
                <a:t>This is dummy text it is not here to be read. The is just text to show where you could insert text. This is dummy text.</a:t>
              </a: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90ED95-DCDE-4C54-B906-B5600792A4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A249C60-32D4-44F9-89DE-7A29D681E470}"/>
              </a:ext>
            </a:extLst>
          </p:cNvPr>
          <p:cNvGrpSpPr/>
          <p:nvPr/>
        </p:nvGrpSpPr>
        <p:grpSpPr>
          <a:xfrm>
            <a:off x="8820651" y="334343"/>
            <a:ext cx="3021682" cy="588439"/>
            <a:chOff x="3128021" y="1830920"/>
            <a:chExt cx="6483122" cy="3467354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765501B3-7730-40C6-AC6D-EC7B2B5EA8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4174" y="2325580"/>
              <a:ext cx="1702904" cy="170205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FE6A1E22-EED7-4DBD-8872-DEB95CD99E8F}"/>
                </a:ext>
              </a:extLst>
            </p:cNvPr>
            <p:cNvSpPr/>
            <p:nvPr/>
          </p:nvSpPr>
          <p:spPr>
            <a:xfrm>
              <a:off x="3128021" y="2112957"/>
              <a:ext cx="1748175" cy="1968665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E4D19E1F-CC30-47D3-81E8-93D0AB50F6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89564" y="3370950"/>
              <a:ext cx="1785290" cy="1784402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6A338FF-720C-449F-B0C4-BDFE80E84516}"/>
                </a:ext>
              </a:extLst>
            </p:cNvPr>
            <p:cNvSpPr txBox="1"/>
            <p:nvPr/>
          </p:nvSpPr>
          <p:spPr>
            <a:xfrm>
              <a:off x="3742997" y="1830920"/>
              <a:ext cx="1133198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1BDFF411-22C5-4007-AAE7-4F828901675C}"/>
                </a:ext>
              </a:extLst>
            </p:cNvPr>
            <p:cNvSpPr/>
            <p:nvPr/>
          </p:nvSpPr>
          <p:spPr>
            <a:xfrm>
              <a:off x="5288633" y="3881273"/>
              <a:ext cx="1207547" cy="1274080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826D55E-FF29-435E-9DFD-BB549B8BAF40}"/>
                </a:ext>
              </a:extLst>
            </p:cNvPr>
            <p:cNvSpPr txBox="1"/>
            <p:nvPr/>
          </p:nvSpPr>
          <p:spPr>
            <a:xfrm>
              <a:off x="535018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9AE1A11-9D6E-44B1-A972-A7275063BDC2}"/>
                </a:ext>
              </a:extLst>
            </p:cNvPr>
            <p:cNvSpPr/>
            <p:nvPr/>
          </p:nvSpPr>
          <p:spPr>
            <a:xfrm>
              <a:off x="7226743" y="3009456"/>
              <a:ext cx="871368" cy="37955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CA8A0A0-5B65-4595-A6FE-39C3F9E0CEF1}"/>
                </a:ext>
              </a:extLst>
            </p:cNvPr>
            <p:cNvSpPr txBox="1"/>
            <p:nvPr/>
          </p:nvSpPr>
          <p:spPr>
            <a:xfrm>
              <a:off x="6897259" y="2017487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kern="0" dirty="0">
                  <a:solidFill>
                    <a:prstClr val="white"/>
                  </a:solidFill>
                </a:rPr>
                <a:t>3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E871FC6A-3983-4E71-82CF-364C40D16E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41266" y="3374951"/>
              <a:ext cx="1769877" cy="1768999"/>
            </a:xfrm>
            <a:prstGeom prst="ellipse">
              <a:avLst/>
            </a:prstGeom>
            <a:solidFill>
              <a:srgbClr val="86BC25"/>
            </a:solidFill>
            <a:ln w="635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C528B15-1E30-48ED-85A5-F92AA0F3AC7C}"/>
                </a:ext>
              </a:extLst>
            </p:cNvPr>
            <p:cNvSpPr txBox="1"/>
            <p:nvPr/>
          </p:nvSpPr>
          <p:spPr>
            <a:xfrm>
              <a:off x="8410292" y="3056310"/>
              <a:ext cx="631825" cy="224196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104030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41" y="2146542"/>
            <a:ext cx="10517717" cy="1592403"/>
          </a:xfrm>
        </p:spPr>
        <p:txBody>
          <a:bodyPr/>
          <a:lstStyle/>
          <a:p>
            <a:pPr algn="ctr"/>
            <a:r>
              <a:rPr lang="en-GB" sz="6000" dirty="0"/>
              <a:t>Thank you!</a:t>
            </a:r>
            <a:br>
              <a:rPr lang="en-GB" sz="6000" dirty="0"/>
            </a:br>
            <a:r>
              <a:rPr lang="en-GB" sz="6000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135544060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9108-Presentation_16x9_Timesaver_PPT_Jan2022 (1).pptx" id="{6BF7DA49-D6F5-4F19-AAC6-7DC45F3A1CD9}" vid="{84C4D3F8-1E44-46A9-99C4-7045F60941AA}"/>
    </a:ext>
  </a:extLst>
</a:theme>
</file>

<file path=ppt/theme/theme3.xml><?xml version="1.0" encoding="utf-8"?>
<a:theme xmlns:a="http://schemas.openxmlformats.org/drawingml/2006/main" name="1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_0222.pptx" id="{1E5302F2-CA52-404C-8DF2-5CFB96840629}" vid="{21A44228-4896-4A5C-8E06-2B3287FB2556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8</TotalTime>
  <Words>316</Words>
  <Application>Microsoft Office PowerPoint</Application>
  <PresentationFormat>Widescreen</PresentationFormat>
  <Paragraphs>80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</vt:lpstr>
      <vt:lpstr>Calibri</vt:lpstr>
      <vt:lpstr>Calibri Light</vt:lpstr>
      <vt:lpstr>Verdana</vt:lpstr>
      <vt:lpstr>Wingdings 2</vt:lpstr>
      <vt:lpstr>Office Theme</vt:lpstr>
      <vt:lpstr>Deloitte Brand Theme</vt:lpstr>
      <vt:lpstr>1_Deloitte Brand Theme</vt:lpstr>
      <vt:lpstr>3_Custom Design</vt:lpstr>
      <vt:lpstr>1_Custom Design</vt:lpstr>
      <vt:lpstr>2_Custom Design</vt:lpstr>
      <vt:lpstr>think-cell Slide</vt:lpstr>
      <vt:lpstr>Predicting Lung Cancer</vt:lpstr>
      <vt:lpstr>Happy Healthcare</vt:lpstr>
      <vt:lpstr>What approach did we use to develop the model?</vt:lpstr>
      <vt:lpstr>What factors should the screening consider?</vt:lpstr>
      <vt:lpstr>How was this data found?</vt:lpstr>
      <vt:lpstr>PowerPoint Presentation</vt:lpstr>
      <vt:lpstr>How did the decision tree model perform in comparison?</vt:lpstr>
      <vt:lpstr>Recommendations and Future work</vt:lpstr>
      <vt:lpstr>Thank you! Any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Lung Cancer</dc:title>
  <dc:creator>Sandlin, Maya</dc:creator>
  <cp:lastModifiedBy>Sandlin, Maya</cp:lastModifiedBy>
  <cp:revision>16</cp:revision>
  <dcterms:created xsi:type="dcterms:W3CDTF">2023-01-23T18:53:29Z</dcterms:created>
  <dcterms:modified xsi:type="dcterms:W3CDTF">2023-01-31T19:2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23T18:53:29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3a85fd8-1fa9-489e-bc62-35ba722460af</vt:lpwstr>
  </property>
  <property fmtid="{D5CDD505-2E9C-101B-9397-08002B2CF9AE}" pid="8" name="MSIP_Label_ea60d57e-af5b-4752-ac57-3e4f28ca11dc_ContentBits">
    <vt:lpwstr>0</vt:lpwstr>
  </property>
</Properties>
</file>